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</p:sldIdLst>
  <p:sldSz cx="12192000" cy="6858000"/>
  <p:notesSz cx="6858000" cy="9144000"/>
  <p:custDataLst>
    <p:tags r:id="rId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2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2555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1627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6995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7700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9461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7476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7235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4634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8041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50874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761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764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15" imgW="359" imgH="360" progId="TCLayout.ActiveDocument.1">
                  <p:embed/>
                </p:oleObj>
              </mc:Choice>
              <mc:Fallback>
                <p:oleObj name="Slide do think-cell" r:id="rId1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19751-BF55-42E9-8FFB-955E9EA3E326}" type="datetimeFigureOut">
              <a:rPr lang="pt-BR" smtClean="0"/>
              <a:t>14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BDC573-E11E-4B9B-BC52-AFF1D372E3B3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MSIPCMContentMarking" descr="{&quot;HashCode&quot;:1622173095,&quot;Placement&quot;:&quot;Footer&quot;,&quot;Top&quot;:522.862549,&quot;Left&quot;:0.0,&quot;SlideWidth&quot;:960,&quot;SlideHeight&quot;:540}"/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800" smtClean="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pt-BR" sz="8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098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15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Slide do think-cell" r:id="rId4" imgW="359" imgH="360" progId="TCLayout.ActiveDocument.1">
                  <p:embed/>
                </p:oleObj>
              </mc:Choice>
              <mc:Fallback>
                <p:oleObj name="Slide do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Arredondado 4"/>
          <p:cNvSpPr/>
          <p:nvPr/>
        </p:nvSpPr>
        <p:spPr>
          <a:xfrm>
            <a:off x="3864634" y="1570008"/>
            <a:ext cx="2372264" cy="152687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297" y="1570008"/>
            <a:ext cx="460938" cy="460938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4375741" y="1900141"/>
            <a:ext cx="1350050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11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peamento Drives</a:t>
            </a:r>
            <a:endParaRPr lang="pt-BR" sz="11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Retângulo Arredondado 7"/>
          <p:cNvSpPr/>
          <p:nvPr/>
        </p:nvSpPr>
        <p:spPr>
          <a:xfrm>
            <a:off x="4140679" y="2648309"/>
            <a:ext cx="741872" cy="2501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Arredondado 8"/>
          <p:cNvSpPr/>
          <p:nvPr/>
        </p:nvSpPr>
        <p:spPr>
          <a:xfrm>
            <a:off x="5158596" y="2648309"/>
            <a:ext cx="741872" cy="25016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4188889" y="2644559"/>
            <a:ext cx="659156" cy="2539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105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ecutar</a:t>
            </a:r>
            <a:endParaRPr lang="pt-BR" sz="105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5342260" y="2644559"/>
            <a:ext cx="388248" cy="2539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105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air</a:t>
            </a:r>
            <a:endParaRPr lang="pt-BR" sz="105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4453487" y="2230274"/>
            <a:ext cx="1194558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11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peando Drives</a:t>
            </a:r>
            <a:endParaRPr lang="pt-BR" sz="11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563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3A7EE9856B67419DA953459E5BA278" ma:contentTypeVersion="11" ma:contentTypeDescription="Create a new document." ma:contentTypeScope="" ma:versionID="c69fa6d9ae71bce831ce541cef04d349">
  <xsd:schema xmlns:xsd="http://www.w3.org/2001/XMLSchema" xmlns:xs="http://www.w3.org/2001/XMLSchema" xmlns:p="http://schemas.microsoft.com/office/2006/metadata/properties" xmlns:ns3="983c01b5-0e0c-4820-a8ed-79f1d0805ca3" xmlns:ns4="7292edfd-5bae-4c7e-8689-03cca50c1024" targetNamespace="http://schemas.microsoft.com/office/2006/metadata/properties" ma:root="true" ma:fieldsID="f2c9c2da0e702264ab6d64692249faf3" ns3:_="" ns4:_="">
    <xsd:import namespace="983c01b5-0e0c-4820-a8ed-79f1d0805ca3"/>
    <xsd:import namespace="7292edfd-5bae-4c7e-8689-03cca50c102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3c01b5-0e0c-4820-a8ed-79f1d0805ca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2edfd-5bae-4c7e-8689-03cca50c10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292edfd-5bae-4c7e-8689-03cca50c1024" xsi:nil="true"/>
  </documentManagement>
</p:properties>
</file>

<file path=customXml/itemProps1.xml><?xml version="1.0" encoding="utf-8"?>
<ds:datastoreItem xmlns:ds="http://schemas.openxmlformats.org/officeDocument/2006/customXml" ds:itemID="{331AF868-6574-4D7E-ACA2-D888D6EE3E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3c01b5-0e0c-4820-a8ed-79f1d0805ca3"/>
    <ds:schemaRef ds:uri="7292edfd-5bae-4c7e-8689-03cca50c10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232076-A346-4417-8AE3-FD96A51578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0E8F4B-84CA-4518-9797-192185F83BE0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292edfd-5bae-4c7e-8689-03cca50c1024"/>
    <ds:schemaRef ds:uri="983c01b5-0e0c-4820-a8ed-79f1d0805ca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a do Office</vt:lpstr>
      <vt:lpstr>Slide do think-cell</vt:lpstr>
      <vt:lpstr>Apresentação do PowerPoint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avalcanti Morerira, Vinicius (EXTERN: Stefanini)</dc:creator>
  <cp:lastModifiedBy>Cavalcanti Morerira, Vinicius (EXTERN: Stefanini)</cp:lastModifiedBy>
  <cp:revision>3</cp:revision>
  <dcterms:created xsi:type="dcterms:W3CDTF">2023-03-14T13:07:20Z</dcterms:created>
  <dcterms:modified xsi:type="dcterms:W3CDTF">2023-03-14T13:4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3A7EE9856B67419DA953459E5BA278</vt:lpwstr>
  </property>
  <property fmtid="{D5CDD505-2E9C-101B-9397-08002B2CF9AE}" pid="3" name="MSIP_Label_b1c9b508-7c6e-42bd-bedf-808292653d6c_Enabled">
    <vt:lpwstr>true</vt:lpwstr>
  </property>
  <property fmtid="{D5CDD505-2E9C-101B-9397-08002B2CF9AE}" pid="4" name="MSIP_Label_b1c9b508-7c6e-42bd-bedf-808292653d6c_SetDate">
    <vt:lpwstr>2023-03-14T13:49:28Z</vt:lpwstr>
  </property>
  <property fmtid="{D5CDD505-2E9C-101B-9397-08002B2CF9AE}" pid="5" name="MSIP_Label_b1c9b508-7c6e-42bd-bedf-808292653d6c_Method">
    <vt:lpwstr>Standard</vt:lpwstr>
  </property>
  <property fmtid="{D5CDD505-2E9C-101B-9397-08002B2CF9AE}" pid="6" name="MSIP_Label_b1c9b508-7c6e-42bd-bedf-808292653d6c_Name">
    <vt:lpwstr>b1c9b508-7c6e-42bd-bedf-808292653d6c</vt:lpwstr>
  </property>
  <property fmtid="{D5CDD505-2E9C-101B-9397-08002B2CF9AE}" pid="7" name="MSIP_Label_b1c9b508-7c6e-42bd-bedf-808292653d6c_SiteId">
    <vt:lpwstr>2882be50-2012-4d88-ac86-544124e120c8</vt:lpwstr>
  </property>
  <property fmtid="{D5CDD505-2E9C-101B-9397-08002B2CF9AE}" pid="8" name="MSIP_Label_b1c9b508-7c6e-42bd-bedf-808292653d6c_ActionId">
    <vt:lpwstr>8875120c-5d80-4c54-ac84-d05478abbfd6</vt:lpwstr>
  </property>
  <property fmtid="{D5CDD505-2E9C-101B-9397-08002B2CF9AE}" pid="9" name="MSIP_Label_b1c9b508-7c6e-42bd-bedf-808292653d6c_ContentBits">
    <vt:lpwstr>3</vt:lpwstr>
  </property>
</Properties>
</file>